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0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97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2632852" y="5636498"/>
            <a:ext cx="3119087" cy="1598030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978611" y="3987158"/>
            <a:ext cx="4427562" cy="1722644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1287720" y="2242522"/>
            <a:ext cx="5809344" cy="1909571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3318241" y="7249185"/>
            <a:ext cx="1748303" cy="1165536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7452803" y="2589987"/>
            <a:ext cx="3525707" cy="36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6862321" y="4277501"/>
            <a:ext cx="3525707" cy="36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6231619" y="5903099"/>
            <a:ext cx="3525707" cy="36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5517578" y="7500489"/>
            <a:ext cx="3525707" cy="36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10684421" y="5740825"/>
            <a:ext cx="5664504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6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11305308" y="2611348"/>
            <a:ext cx="5725389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accent2"/>
                </a:solidFill>
                <a:latin typeface="+mn-lt"/>
              </a:rPr>
            </a:br>
            <a:r>
              <a:rPr lang="en-US" sz="16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11035475" y="4176086"/>
            <a:ext cx="5760092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accent2"/>
                </a:solidFill>
                <a:latin typeface="+mn-lt"/>
              </a:rPr>
            </a:br>
            <a:r>
              <a:rPr lang="en-US" sz="16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10373676" y="7305565"/>
            <a:ext cx="5664504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6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3868736" y="4949747"/>
            <a:ext cx="577604" cy="54979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3984607" y="6271478"/>
            <a:ext cx="345863" cy="636797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7133" tIns="68567" rIns="137133" bIns="68567" numCol="1" anchor="t" anchorCtr="0" compatLnSpc="1">
            <a:prstTxWarp prst="textNoShape">
              <a:avLst/>
            </a:prstTxWarp>
          </a:bodyPr>
          <a:lstStyle/>
          <a:p>
            <a:endParaRPr lang="id-ID" sz="126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3887367" y="3037268"/>
            <a:ext cx="540339" cy="86235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3912956" y="7697991"/>
            <a:ext cx="489162" cy="46893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700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700"/>
            </a:p>
          </p:txBody>
        </p:sp>
      </p:grpSp>
    </p:spTree>
    <p:extLst>
      <p:ext uri="{BB962C8B-B14F-4D97-AF65-F5344CB8AC3E}">
        <p14:creationId xmlns:p14="http://schemas.microsoft.com/office/powerpoint/2010/main" val="1100795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106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7</cp:revision>
  <dcterms:created xsi:type="dcterms:W3CDTF">2006-08-16T00:00:00Z</dcterms:created>
  <dcterms:modified xsi:type="dcterms:W3CDTF">2025-10-06T10:41:19Z</dcterms:modified>
  <cp:category/>
  <dc:identifier>DAGkDf5R9EM</dc:identifier>
</cp:coreProperties>
</file>